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7"/>
  </p:notesMasterIdLst>
  <p:sldIdLst>
    <p:sldId id="270" r:id="rId4"/>
    <p:sldId id="289" r:id="rId5"/>
    <p:sldId id="301" r:id="rId6"/>
    <p:sldId id="299" r:id="rId7"/>
    <p:sldId id="294" r:id="rId8"/>
    <p:sldId id="290" r:id="rId9"/>
    <p:sldId id="300" r:id="rId10"/>
    <p:sldId id="292" r:id="rId11"/>
    <p:sldId id="293" r:id="rId12"/>
    <p:sldId id="296" r:id="rId13"/>
    <p:sldId id="298" r:id="rId14"/>
    <p:sldId id="297" r:id="rId15"/>
    <p:sldId id="30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7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3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353" y="1416010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Performance </a:t>
            </a:r>
            <a:r>
              <a:rPr lang="en-US" altLang="zh-CN" dirty="0">
                <a:sym typeface="+mn-lt"/>
              </a:rPr>
              <a:t>and Sign-in </a:t>
            </a:r>
            <a:r>
              <a:rPr lang="zh-CN" altLang="en-US" dirty="0">
                <a:sym typeface="+mn-lt"/>
              </a:rPr>
              <a:t>表演及现场互动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6264832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4023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4023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Performance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表演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64832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Sign-in </a:t>
            </a: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签到及其他互动环节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Hospitality </a:t>
            </a:r>
            <a:r>
              <a:rPr lang="zh-CN" altLang="en-US" dirty="0">
                <a:sym typeface="+mn-lt"/>
              </a:rPr>
              <a:t>礼仪及其他工作人员</a:t>
            </a:r>
            <a:endParaRPr lang="en-US" dirty="0"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5597" y="1146150"/>
            <a:ext cx="5336624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146150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其他工作人员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6264832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5597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0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000" b="1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000" b="1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000" b="1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000" b="1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6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000" b="1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000" b="1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5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en-US" altLang="zh-CN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4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90226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0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活动名称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cs"/>
                        </a:rPr>
                        <a:t>  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cs"/>
                        </a:rPr>
                        <a:t> 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</a:rPr>
                        <a:t>  </a:t>
                      </a:r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人员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Actual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实际情况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Plan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计划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No.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参与人数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</a:rPr>
                        <a:t> </a:t>
                      </a:r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DCPID </a:t>
                      </a: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客户数量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</a:rPr>
                        <a:t> </a:t>
                      </a:r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每条线索成本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</a:rPr>
                        <a:t> </a:t>
                      </a:r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No.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 of 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</a:rPr>
                        <a:t> </a:t>
                      </a:r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85768189"/>
              </p:ext>
            </p:extLst>
          </p:nvPr>
        </p:nvGraphicFramePr>
        <p:xfrm>
          <a:off x="587375" y="5211029"/>
          <a:ext cx="11032368" cy="81049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aseline="0" dirty="0"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Campaign ID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ID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下的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4842473"/>
              </p:ext>
            </p:extLst>
          </p:nvPr>
        </p:nvGraphicFramePr>
        <p:xfrm>
          <a:off x="563446" y="1148019"/>
          <a:ext cx="11079992" cy="5532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0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87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27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67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852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949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7695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06610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客户姓名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前是否已有</a:t>
                      </a: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0357673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4252154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6488177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9715701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576105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3933619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3473952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474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5853583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9593728"/>
              </p:ext>
            </p:extLst>
          </p:nvPr>
        </p:nvGraphicFramePr>
        <p:xfrm>
          <a:off x="544314" y="1551213"/>
          <a:ext cx="11048526" cy="765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000" b="0" i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Budget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000" b="0" i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i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 i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="0" i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000" b="0" i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i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b="0" i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="0" i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7168750"/>
              </p:ext>
            </p:extLst>
          </p:nvPr>
        </p:nvGraphicFramePr>
        <p:xfrm>
          <a:off x="544307" y="3152323"/>
          <a:ext cx="11048533" cy="3239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0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0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erformance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9906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MC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779542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Hospitality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12637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accent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accent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3277037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5478034"/>
              </p:ext>
            </p:extLst>
          </p:nvPr>
        </p:nvGraphicFramePr>
        <p:xfrm>
          <a:off x="539750" y="1254424"/>
          <a:ext cx="11079992" cy="5284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2412">
                  <a:extLst>
                    <a:ext uri="{9D8B030D-6E8A-4147-A177-3AD203B41FA5}">
                      <a16:colId xmlns:a16="http://schemas.microsoft.com/office/drawing/2014/main" val="1701192910"/>
                    </a:ext>
                  </a:extLst>
                </a:gridCol>
                <a:gridCol w="22924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951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7429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tartTime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开始时间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ndTime</a:t>
                      </a: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结束时间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流程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260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900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456389"/>
                  </a:ext>
                </a:extLst>
              </a:tr>
              <a:tr h="40900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467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467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8811563"/>
                  </a:ext>
                </a:extLst>
              </a:tr>
              <a:tr h="45467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788661"/>
                  </a:ext>
                </a:extLst>
              </a:tr>
              <a:tr h="45467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117639"/>
                  </a:ext>
                </a:extLst>
              </a:tr>
              <a:tr h="45467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417531"/>
                  </a:ext>
                </a:extLst>
              </a:tr>
              <a:tr h="40900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45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0632797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64047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车辆照片（动态</a:t>
            </a: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静态）</a:t>
            </a:r>
            <a:endParaRPr lang="zh-CN" altLang="en-US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8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177026" y="6314606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5</TotalTime>
  <Words>579</Words>
  <Application>Microsoft Office PowerPoint</Application>
  <PresentationFormat>宽屏</PresentationFormat>
  <Paragraphs>163</Paragraphs>
  <Slides>13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5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PowerPoint 演示文稿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72</cp:revision>
  <dcterms:created xsi:type="dcterms:W3CDTF">2022-02-15T07:41:51Z</dcterms:created>
  <dcterms:modified xsi:type="dcterms:W3CDTF">2022-05-05T02:57:03Z</dcterms:modified>
</cp:coreProperties>
</file>